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5" r:id="rId9"/>
    <p:sldId id="845" r:id="rId10"/>
    <p:sldId id="849" r:id="rId11"/>
    <p:sldId id="852" r:id="rId12"/>
    <p:sldId id="313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19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4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4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jpeg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 smtClean="0">
                <a:solidFill>
                  <a:srgbClr val="002060"/>
                </a:solidFill>
              </a:rPr>
              <a:t>  проекта МБОУ «СОШ № 42 </a:t>
            </a:r>
            <a:br>
              <a:rPr lang="ru-RU" sz="2800" dirty="0" smtClean="0">
                <a:solidFill>
                  <a:srgbClr val="002060"/>
                </a:solidFill>
              </a:rPr>
            </a:br>
            <a:r>
              <a:rPr lang="ru-RU" sz="2800" dirty="0" smtClean="0">
                <a:solidFill>
                  <a:srgbClr val="002060"/>
                </a:solidFill>
              </a:rPr>
              <a:t>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99592" y="4869160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МАОУ «Лицей № 67 г. 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2ED9E91D-C7A3-417B-8447-C9745605A7DA}"/>
              </a:ext>
            </a:extLst>
          </p:cNvPr>
          <p:cNvSpPr/>
          <p:nvPr/>
        </p:nvSpPr>
        <p:spPr>
          <a:xfrm>
            <a:off x="654444" y="1519071"/>
            <a:ext cx="3998560" cy="2593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67E098DF-3089-4F1F-8A1D-75A1407185D3}"/>
              </a:ext>
            </a:extLst>
          </p:cNvPr>
          <p:cNvSpPr/>
          <p:nvPr/>
        </p:nvSpPr>
        <p:spPr>
          <a:xfrm>
            <a:off x="4824571" y="1519072"/>
            <a:ext cx="3951083" cy="26079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6C35B742-BC40-4565-B4B2-29D3173AEB69}"/>
              </a:ext>
            </a:extLst>
          </p:cNvPr>
          <p:cNvSpPr/>
          <p:nvPr/>
        </p:nvSpPr>
        <p:spPr>
          <a:xfrm>
            <a:off x="2543678" y="4272930"/>
            <a:ext cx="3709865" cy="25370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2224757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EB47E8FE-4A20-4883-B30B-C5AB45F41B91}"/>
              </a:ext>
            </a:extLst>
          </p:cNvPr>
          <p:cNvSpPr/>
          <p:nvPr/>
        </p:nvSpPr>
        <p:spPr>
          <a:xfrm>
            <a:off x="3395137" y="4272296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2130735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7" y="1557047"/>
            <a:ext cx="1216697" cy="216301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96" y="1834574"/>
            <a:ext cx="1216697" cy="21630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687" y="1688014"/>
            <a:ext cx="1236169" cy="219763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7C4E0546-9AC4-48DE-A6B6-7D5D2A9177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7958" y="1788716"/>
            <a:ext cx="3313192" cy="206864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07C11CA5-1A11-435A-907F-3F8DD658125F}"/>
              </a:ext>
            </a:extLst>
          </p:cNvPr>
          <p:cNvSpPr/>
          <p:nvPr/>
        </p:nvSpPr>
        <p:spPr>
          <a:xfrm>
            <a:off x="843844" y="755718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t="749" r="17313" b="2002"/>
          <a:stretch/>
        </p:blipFill>
        <p:spPr>
          <a:xfrm>
            <a:off x="2705202" y="4691868"/>
            <a:ext cx="3383161" cy="195842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07C11CA5-1A11-435A-907F-3F8DD658125F}"/>
              </a:ext>
            </a:extLst>
          </p:cNvPr>
          <p:cNvSpPr/>
          <p:nvPr/>
        </p:nvSpPr>
        <p:spPr>
          <a:xfrm>
            <a:off x="4920202" y="911331"/>
            <a:ext cx="375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Маршрут индивидуального развития ребенка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5124" name="Picture 4" descr="photo_2023-10-16_11-01-3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134" y="1556792"/>
            <a:ext cx="2294695" cy="1728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photo_2023-10-16_11-01-4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3568637"/>
            <a:ext cx="2277357" cy="17151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photo_2023-10-16_10-56-0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3948" y="1550890"/>
            <a:ext cx="2294695" cy="1728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photo_2023-10-11_15-48-2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5023" y="2381693"/>
            <a:ext cx="2052228" cy="2736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331640" y="162880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sz="16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https://chel67.ru/lean_technologies_67/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204148"/>
            <a:ext cx="5769083" cy="40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94929"/>
            <a:ext cx="8291264" cy="5963071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 l="36576" t="16542" r="34786" b="7090"/>
          <a:stretch>
            <a:fillRect/>
          </a:stretch>
        </p:blipFill>
        <p:spPr bwMode="auto">
          <a:xfrm>
            <a:off x="1475656" y="1340768"/>
            <a:ext cx="2952328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 l="36576" t="21315" r="34786" b="3908"/>
          <a:stretch>
            <a:fillRect/>
          </a:stretch>
        </p:blipFill>
        <p:spPr bwMode="auto">
          <a:xfrm>
            <a:off x="4572000" y="1340768"/>
            <a:ext cx="3096344" cy="454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7256"/>
            <a:ext cx="8352928" cy="5189937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3434" t="24408" r="37351" b="11609"/>
          <a:stretch/>
        </p:blipFill>
        <p:spPr>
          <a:xfrm>
            <a:off x="843844" y="795189"/>
            <a:ext cx="7688596" cy="5926286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31534" y="1206163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953" y="1550364"/>
            <a:ext cx="390238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7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0" y="1550364"/>
            <a:ext cx="435471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обучающих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5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</a:rPr>
              <a:t>Время, кадры: 4 недели</a:t>
            </a:r>
            <a:endParaRPr lang="ru-RU" altLang="ru-RU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82095" y="398463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5536" y="4797152"/>
            <a:ext cx="820826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РЕМЕННЫХ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ПОТЕРЬ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И КАДРОВЫХ ДЕФИЦИТОВ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в ОО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 обучающегос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8</TotalTime>
  <Words>341</Words>
  <Application>Microsoft Office PowerPoint</Application>
  <PresentationFormat>Экран (4:3)</PresentationFormat>
  <Paragraphs>100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iRU</cp:lastModifiedBy>
  <cp:revision>145</cp:revision>
  <cp:lastPrinted>2019-04-25T09:14:46Z</cp:lastPrinted>
  <dcterms:created xsi:type="dcterms:W3CDTF">2018-08-20T14:01:12Z</dcterms:created>
  <dcterms:modified xsi:type="dcterms:W3CDTF">2023-10-24T06:50:35Z</dcterms:modified>
</cp:coreProperties>
</file>